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  <p15:guide id="12" orient="horz" pos="3453" userDrawn="1">
          <p15:clr>
            <a:srgbClr val="A4A3A4"/>
          </p15:clr>
        </p15:guide>
        <p15:guide id="13" pos="59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0000"/>
    <a:srgbClr val="B00000"/>
    <a:srgbClr val="FF8989"/>
    <a:srgbClr val="D9D9D9"/>
    <a:srgbClr val="A1A1A1"/>
    <a:srgbClr val="404040"/>
    <a:srgbClr val="F80000"/>
    <a:srgbClr val="F6F6F6"/>
    <a:srgbClr val="444444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  <p:guide orient="horz" pos="2160"/>
        <p:guide orient="horz" pos="3453"/>
        <p:guide pos="59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B5DAF3E5-714C-43A2-8138-B97523FB1010}"/>
    <pc:docChg chg="modSld">
      <pc:chgData name="Weigel Stefan (PAR-EPS)" userId="fd3b2067-2981-4ad8-bf3a-d2e1004e4fa8" providerId="ADAL" clId="{B5DAF3E5-714C-43A2-8138-B97523FB1010}" dt="2025-02-22T13:32:45.737" v="84" actId="27918"/>
      <pc:docMkLst>
        <pc:docMk/>
      </pc:docMkLst>
      <pc:sldChg chg="modSp mod">
        <pc:chgData name="Weigel Stefan (PAR-EPS)" userId="fd3b2067-2981-4ad8-bf3a-d2e1004e4fa8" providerId="ADAL" clId="{B5DAF3E5-714C-43A2-8138-B97523FB1010}" dt="2025-02-22T13:32:45.737" v="84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5DAF3E5-714C-43A2-8138-B97523FB1010}" dt="2025-02-22T13:19:57.947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5DAF3E5-714C-43A2-8138-B97523FB1010}" dt="2025-02-22T13:22:27.202" v="43" actId="1035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B5DAF3E5-714C-43A2-8138-B97523FB1010}" dt="2025-02-22T13:22:27.202" v="43" actId="1035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B5DAF3E5-714C-43A2-8138-B97523FB1010}" dt="2025-02-22T13:24:59.346" v="78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B5DAF3E5-714C-43A2-8138-B97523FB1010}" dt="2025-02-22T13:23:00.610" v="69" actId="14100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C9F93C33-A376-423C-8203-DFBF328D0EE2}"/>
    <pc:docChg chg="modSld">
      <pc:chgData name="Weigel Stefan (PAR-EPS)" userId="fd3b2067-2981-4ad8-bf3a-d2e1004e4fa8" providerId="ADAL" clId="{C9F93C33-A376-423C-8203-DFBF328D0EE2}" dt="2024-04-22T07:49:31.383" v="39"/>
      <pc:docMkLst>
        <pc:docMk/>
      </pc:docMkLst>
      <pc:sldChg chg="modSp mod setBg">
        <pc:chgData name="Weigel Stefan (PAR-EPS)" userId="fd3b2067-2981-4ad8-bf3a-d2e1004e4fa8" providerId="ADAL" clId="{C9F93C33-A376-423C-8203-DFBF328D0EE2}" dt="2024-04-22T07:49:31.383" v="39"/>
        <pc:sldMkLst>
          <pc:docMk/>
          <pc:sldMk cId="1659961403" sldId="399"/>
        </pc:sldMkLst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5:58.638" v="10" actId="255"/>
          <ac:spMkLst>
            <pc:docMk/>
            <pc:sldMk cId="1659961403" sldId="399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C9F93C33-A376-423C-8203-DFBF328D0EE2}" dt="2024-04-12T08:19:54.138" v="37" actId="1038"/>
          <ac:spMkLst>
            <pc:docMk/>
            <pc:sldMk cId="1659961403" sldId="399"/>
            <ac:spMk id="12" creationId="{11507FF3-D0A7-4303-867B-DBB6D2D0206D}"/>
          </ac:spMkLst>
        </pc:spChg>
        <pc:graphicFrameChg chg="mod">
          <ac:chgData name="Weigel Stefan (PAR-EPS)" userId="fd3b2067-2981-4ad8-bf3a-d2e1004e4fa8" providerId="ADAL" clId="{C9F93C33-A376-423C-8203-DFBF328D0EE2}" dt="2024-04-12T08:19:02.259" v="14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C9F93C33-A376-423C-8203-DFBF328D0EE2}" dt="2024-04-22T07:49:31.383" v="39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FAF3997-168E-4EDA-9E50-C538B6D4555C}"/>
    <pc:docChg chg="modSld">
      <pc:chgData name="Weigel Stefan (PAR-EPS)" userId="fd3b2067-2981-4ad8-bf3a-d2e1004e4fa8" providerId="ADAL" clId="{8FAF3997-168E-4EDA-9E50-C538B6D4555C}" dt="2025-02-22T13:15:32.259" v="35" actId="1076"/>
      <pc:docMkLst>
        <pc:docMk/>
      </pc:docMkLst>
      <pc:sldChg chg="modSp mod">
        <pc:chgData name="Weigel Stefan (PAR-EPS)" userId="fd3b2067-2981-4ad8-bf3a-d2e1004e4fa8" providerId="ADAL" clId="{8FAF3997-168E-4EDA-9E50-C538B6D4555C}" dt="2025-02-22T13:15:32.259" v="35" actId="1076"/>
        <pc:sldMkLst>
          <pc:docMk/>
          <pc:sldMk cId="1659961403" sldId="399"/>
        </pc:sldMkLst>
        <pc:spChg chg="mod">
          <ac:chgData name="Weigel Stefan (PAR-EPS)" userId="fd3b2067-2981-4ad8-bf3a-d2e1004e4fa8" providerId="ADAL" clId="{8FAF3997-168E-4EDA-9E50-C538B6D4555C}" dt="2025-02-13T14:26:35.627" v="1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25.752" v="34" actId="1076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8FAF3997-168E-4EDA-9E50-C538B6D4555C}" dt="2025-02-22T13:15:32.259" v="35" actId="1076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3:08:23.934" v="45"/>
      <pc:docMkLst>
        <pc:docMk/>
      </pc:docMkLst>
      <pc:sldChg chg="addSp modSp mod">
        <pc:chgData name="Weigel Stefan (PAR-EPS)" userId="fd3b2067-2981-4ad8-bf3a-d2e1004e4fa8" providerId="ADAL" clId="{914FFF5D-39D1-48F2-8B09-3118F0B2C534}" dt="2024-02-16T13:08:23.934" v="45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914FFF5D-39D1-48F2-8B09-3118F0B2C534}" dt="2024-02-16T13:08:23.934" v="45"/>
          <ac:spMkLst>
            <pc:docMk/>
            <pc:sldMk cId="1659961403" sldId="399"/>
            <ac:spMk id="3" creationId="{315380B8-1F1D-F904-610A-499F9FCB2846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91C1-4368-8712-1FFA6E2A3F9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9</c:f>
              <c:strCache>
                <c:ptCount val="7"/>
                <c:pt idx="0">
                  <c:v>Consommation de courant ferroviaire des trafics voyageurs et marchandises des CFF</c:v>
                </c:pt>
                <c:pt idx="1">
                  <c:v>Consommation propre d’Infrastr. Réseau due à la mise à disposition de courant ferroviaire</c:v>
                </c:pt>
                <c:pt idx="2">
                  <c:v>Consommation propre d’Infrastructure Énergie</c:v>
                </c:pt>
                <c:pt idx="3">
                  <c:v>Courant pour bâtiments et installations</c:v>
                </c:pt>
                <c:pt idx="4">
                  <c:v>Carburant pour la traction</c:v>
                </c:pt>
                <c:pt idx="5">
                  <c:v>Carburant pour véhicules routiers, machines et appareils</c:v>
                </c:pt>
                <c:pt idx="6">
                  <c:v>Énergie thermique pour bâtiments et installation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655.1478685919999</c:v>
                </c:pt>
                <c:pt idx="1">
                  <c:v>102.649135548</c:v>
                </c:pt>
                <c:pt idx="2">
                  <c:v>130.53450000000001</c:v>
                </c:pt>
                <c:pt idx="3">
                  <c:v>280.97292291000002</c:v>
                </c:pt>
                <c:pt idx="4">
                  <c:v>97.411128664619099</c:v>
                </c:pt>
                <c:pt idx="5">
                  <c:v>26.358783608618701</c:v>
                </c:pt>
                <c:pt idx="6">
                  <c:v>164.59561964452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68546321813766342"/>
          <c:w val="1"/>
          <c:h val="0.28382694757267685"/>
        </c:manualLayout>
      </c:layout>
      <c:overlay val="0"/>
      <c:txPr>
        <a:bodyPr/>
        <a:lstStyle/>
        <a:p>
          <a:pPr>
            <a:defRPr sz="9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rgbClr val="A1A1A1"/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6"/>
            <c:bubble3D val="0"/>
            <c:spPr>
              <a:solidFill>
                <a:srgbClr val="404040"/>
              </a:solidFill>
            </c:spPr>
            <c:extLst>
              <c:ext xmlns:c16="http://schemas.microsoft.com/office/drawing/2014/chart" uri="{C3380CC4-5D6E-409C-BE32-E72D297353CC}">
                <c16:uniqueId val="{0000000D-FC46-4EEA-8EE7-1083D527B585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9</c:f>
              <c:strCache>
                <c:ptCount val="7"/>
                <c:pt idx="0">
                  <c:v>Courant de traction</c:v>
                </c:pt>
                <c:pt idx="1">
                  <c:v>Consommation propre d’Infrastructure Réseau</c:v>
                </c:pt>
                <c:pt idx="2">
                  <c:v>Consommation propre due à la mise à disposition de courant de traction </c:v>
                </c:pt>
                <c:pt idx="3">
                  <c:v>Courant pour bâtiments et installations</c:v>
                </c:pt>
                <c:pt idx="4">
                  <c:v>Carburant pour la traction</c:v>
                </c:pt>
                <c:pt idx="5">
                  <c:v>Carburant pour véhicules routiers, machines et appareils </c:v>
                </c:pt>
                <c:pt idx="6">
                  <c:v>Énergie thermique pour les bâtiments et installations</c:v>
                </c:pt>
              </c:strCache>
            </c:strRef>
          </c:cat>
          <c:val>
            <c:numRef>
              <c:f>data!$F$3:$F$9</c:f>
              <c:numCache>
                <c:formatCode>0.0</c:formatCode>
                <c:ptCount val="7"/>
                <c:pt idx="0">
                  <c:v>1174.75821117745</c:v>
                </c:pt>
                <c:pt idx="1">
                  <c:v>73.871236170140193</c:v>
                </c:pt>
                <c:pt idx="2">
                  <c:v>0</c:v>
                </c:pt>
                <c:pt idx="3">
                  <c:v>221.581577607752</c:v>
                </c:pt>
                <c:pt idx="4">
                  <c:v>23970.876962423699</c:v>
                </c:pt>
                <c:pt idx="5">
                  <c:v>7108.4313460597896</c:v>
                </c:pt>
                <c:pt idx="6">
                  <c:v>21233.2288711729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nergie et climat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87383420"/>
              </p:ext>
            </p:extLst>
          </p:nvPr>
        </p:nvGraphicFramePr>
        <p:xfrm>
          <a:off x="1487489" y="1481872"/>
          <a:ext cx="4787900" cy="5376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17700" y="1232916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4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ommation d’énergi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75389" y="122942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Émissions de gaz à effet de serre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2566508421"/>
              </p:ext>
            </p:extLst>
          </p:nvPr>
        </p:nvGraphicFramePr>
        <p:xfrm>
          <a:off x="6114165" y="1481873"/>
          <a:ext cx="3600000" cy="4558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901157" y="5372021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1A6F3C2-0B23-44FC-9D79-53AB7C77E1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Énergie et climat e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nergie et climat en 2024.</dc:title>
  <dc:creator>Meyer Raphael (KOM-PGA-VSF)</dc:creator>
  <cp:lastModifiedBy>Stefan Weigel (PAR-EPS)</cp:lastModifiedBy>
  <cp:revision>56</cp:revision>
  <cp:lastPrinted>2024-02-16T13:08:26Z</cp:lastPrinted>
  <dcterms:created xsi:type="dcterms:W3CDTF">2020-09-30T11:00:09Z</dcterms:created>
  <dcterms:modified xsi:type="dcterms:W3CDTF">2025-02-24T12:5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